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>
        <p:scale>
          <a:sx n="90" d="100"/>
          <a:sy n="90" d="100"/>
        </p:scale>
        <p:origin x="-840" y="-72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 of “therapist density” in NYC by </a:t>
            </a:r>
            <a:r>
              <a:rPr lang="en-US" dirty="0" err="1" smtClean="0"/>
              <a:t>zip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35" y="971550"/>
            <a:ext cx="7910709" cy="396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insights can be gained from the data s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</a:t>
            </a:r>
            <a:r>
              <a:rPr lang="en-US" dirty="0" smtClean="0"/>
              <a:t>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rther, if one collects additional data on number of people working in each zip code, the causes for therapist numbers per zip code could be further </a:t>
            </a:r>
            <a:r>
              <a:rPr lang="en-US" dirty="0" smtClean="0"/>
              <a:t>illuminated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zip code could gain valuable insights that could have marketing implication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d </a:t>
            </a:r>
            <a:r>
              <a:rPr lang="en-US" sz="1600" noProof="1" smtClean="0">
                <a:latin typeface="Arial" pitchFamily="34" charset="0"/>
                <a:cs typeface="Arial" pitchFamily="34" charset="0"/>
              </a:rPr>
              <a:t>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AB0903-C811-4386-89A0-517F35E2B28C}">
  <ds:schemaRefs>
    <ds:schemaRef ds:uri="http://www.w3.org/XML/1998/namespace"/>
    <ds:schemaRef ds:uri="http://purl.org/dc/elements/1.1/"/>
    <ds:schemaRef ds:uri="http://schemas.microsoft.com/sharepoint/v3"/>
    <ds:schemaRef ds:uri="eaa6d935-851e-4683-8fb3-4830ef9470e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fdaf2857-34a0-4271-9efd-53feeda81814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297</TotalTime>
  <Words>1024</Words>
  <Application>Microsoft Office PowerPoint</Application>
  <PresentationFormat>On-screen Show (16:9)</PresentationFormat>
  <Paragraphs>145</Paragraphs>
  <Slides>42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3" baseType="lpstr"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Map of “therapist density” in NYC by zipcode</vt:lpstr>
      <vt:lpstr>Zip codes with the highest “density” of therapists</vt:lpstr>
      <vt:lpstr>Zip codes with the lowest “density” of therapists</vt:lpstr>
      <vt:lpstr>Further insights can be gained from the data set</vt:lpstr>
      <vt:lpstr>Questions?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63</cp:revision>
  <cp:lastPrinted>2011-09-08T07:53:45Z</cp:lastPrinted>
  <dcterms:created xsi:type="dcterms:W3CDTF">2017-10-22T12:54:41Z</dcterms:created>
  <dcterms:modified xsi:type="dcterms:W3CDTF">2017-10-23T02:0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